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B16F2A-14AF-4600-899B-D7FBDFF3091F}" v="36" dt="2022-09-30T11:59:14.02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200" d="100"/>
          <a:sy n="200" d="100"/>
        </p:scale>
        <p:origin x="252" y="-8862"/>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27T12:52:51.643" v="514" actId="20577"/>
      <pc:docMkLst>
        <pc:docMk/>
      </pc:docMkLst>
      <pc:sldChg chg="addSp delSp modSp mod">
        <pc:chgData name="Kümmerle, Markus" userId="edb588ad-b118-44cb-93b6-335b967c9009" providerId="ADAL" clId="{24B315E6-0C95-4856-97BC-357069CCFCD4}" dt="2022-07-27T12:52:51.643" v="514" actId="20577"/>
        <pc:sldMkLst>
          <pc:docMk/>
          <pc:sldMk cId="1078392102" sldId="476"/>
        </pc:sldMkLst>
        <pc:spChg chg="mod">
          <ac:chgData name="Kümmerle, Markus" userId="edb588ad-b118-44cb-93b6-335b967c9009" providerId="ADAL" clId="{24B315E6-0C95-4856-97BC-357069CCFCD4}" dt="2022-07-27T12:52:51.643" v="51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27T12:44:52.518" v="367" actId="12789"/>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27T12:44:52.518" v="367" actId="12789"/>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del mod">
          <ac:chgData name="Kümmerle, Markus" userId="edb588ad-b118-44cb-93b6-335b967c9009" providerId="ADAL" clId="{24B315E6-0C95-4856-97BC-357069CCFCD4}" dt="2022-07-27T12:45:41.386" v="465" actId="47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27T12:47:16.795" v="474" actId="12789"/>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27T12:47:16.795" v="474" actId="12789"/>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27T12:44:52.518" v="367"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27T12:47:16.795" v="474" actId="12789"/>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27T12:44:52.518" v="367" actId="12789"/>
          <ac:picMkLst>
            <pc:docMk/>
            <pc:sldMk cId="1078392102" sldId="476"/>
            <ac:picMk id="47" creationId="{9BA122E6-520A-4EEB-BB7E-A1FD8CA99C78}"/>
          </ac:picMkLst>
        </pc:picChg>
        <pc:picChg chg="mod">
          <ac:chgData name="Kümmerle, Markus" userId="edb588ad-b118-44cb-93b6-335b967c9009" providerId="ADAL" clId="{24B315E6-0C95-4856-97BC-357069CCFCD4}" dt="2022-07-27T12:44:52.518" v="36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27T12:47:29.433" v="510"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27T12:44:52.518" v="367" actId="12789"/>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mod">
          <ac:chgData name="Kümmerle, Markus" userId="edb588ad-b118-44cb-93b6-335b967c9009" providerId="ADAL" clId="{24B315E6-0C95-4856-97BC-357069CCFCD4}" dt="2022-07-27T12:47:16.795" v="474" actId="12789"/>
          <ac:picMkLst>
            <pc:docMk/>
            <pc:sldMk cId="1078392102" sldId="476"/>
            <ac:picMk id="55" creationId="{37F213E2-E7FA-47E1-AB99-62DD5CAD107C}"/>
          </ac:picMkLst>
        </pc:picChg>
        <pc:picChg chg="add mod">
          <ac:chgData name="Kümmerle, Markus" userId="edb588ad-b118-44cb-93b6-335b967c9009" providerId="ADAL" clId="{24B315E6-0C95-4856-97BC-357069CCFCD4}" dt="2022-07-27T12:47:25.002" v="495" actId="1038"/>
          <ac:picMkLst>
            <pc:docMk/>
            <pc:sldMk cId="1078392102" sldId="476"/>
            <ac:picMk id="56" creationId="{33143BD9-69CF-46DF-9959-357A92990F1C}"/>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27T12:47:16.795" v="474"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27T12:44:52.518" v="367"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Kümmerle, Markus" userId="edb588ad-b118-44cb-93b6-335b967c9009" providerId="ADAL" clId="{77B16F2A-14AF-4600-899B-D7FBDFF3091F}"/>
    <pc:docChg chg="undo redo custSel modSld">
      <pc:chgData name="Kümmerle, Markus" userId="edb588ad-b118-44cb-93b6-335b967c9009" providerId="ADAL" clId="{77B16F2A-14AF-4600-899B-D7FBDFF3091F}" dt="2022-09-30T11:59:14.022" v="362" actId="1036"/>
      <pc:docMkLst>
        <pc:docMk/>
      </pc:docMkLst>
      <pc:sldChg chg="addSp delSp modSp mod">
        <pc:chgData name="Kümmerle, Markus" userId="edb588ad-b118-44cb-93b6-335b967c9009" providerId="ADAL" clId="{77B16F2A-14AF-4600-899B-D7FBDFF3091F}" dt="2022-09-30T11:59:14.022" v="362" actId="1036"/>
        <pc:sldMkLst>
          <pc:docMk/>
          <pc:sldMk cId="1078392102" sldId="476"/>
        </pc:sldMkLst>
        <pc:spChg chg="mod">
          <ac:chgData name="Kümmerle, Markus" userId="edb588ad-b118-44cb-93b6-335b967c9009" providerId="ADAL" clId="{77B16F2A-14AF-4600-899B-D7FBDFF3091F}" dt="2022-09-30T08:28:26.441" v="58" actId="20577"/>
          <ac:spMkLst>
            <pc:docMk/>
            <pc:sldMk cId="1078392102" sldId="476"/>
            <ac:spMk id="2" creationId="{CD5275E9-6057-4486-B63F-567ED92B7275}"/>
          </ac:spMkLst>
        </pc:spChg>
        <pc:spChg chg="mod">
          <ac:chgData name="Kümmerle, Markus" userId="edb588ad-b118-44cb-93b6-335b967c9009" providerId="ADAL" clId="{77B16F2A-14AF-4600-899B-D7FBDFF3091F}" dt="2022-09-30T11:57:55.359" v="348" actId="1076"/>
          <ac:spMkLst>
            <pc:docMk/>
            <pc:sldMk cId="1078392102" sldId="476"/>
            <ac:spMk id="43" creationId="{BDFB9A18-73B4-4CCA-B372-37EFB554C165}"/>
          </ac:spMkLst>
        </pc:spChg>
        <pc:picChg chg="mod">
          <ac:chgData name="Kümmerle, Markus" userId="edb588ad-b118-44cb-93b6-335b967c9009" providerId="ADAL" clId="{77B16F2A-14AF-4600-899B-D7FBDFF3091F}" dt="2022-09-30T11:59:14.022" v="362" actId="1036"/>
          <ac:picMkLst>
            <pc:docMk/>
            <pc:sldMk cId="1078392102" sldId="476"/>
            <ac:picMk id="5" creationId="{2F5A3DE1-64B6-4EDF-8581-AC4866695EFC}"/>
          </ac:picMkLst>
        </pc:picChg>
        <pc:picChg chg="mod">
          <ac:chgData name="Kümmerle, Markus" userId="edb588ad-b118-44cb-93b6-335b967c9009" providerId="ADAL" clId="{77B16F2A-14AF-4600-899B-D7FBDFF3091F}" dt="2022-09-30T11:59:14.022" v="362" actId="1036"/>
          <ac:picMkLst>
            <pc:docMk/>
            <pc:sldMk cId="1078392102" sldId="476"/>
            <ac:picMk id="6" creationId="{0FF0977A-195B-4666-81D1-169F6FA80357}"/>
          </ac:picMkLst>
        </pc:picChg>
        <pc:picChg chg="mod">
          <ac:chgData name="Kümmerle, Markus" userId="edb588ad-b118-44cb-93b6-335b967c9009" providerId="ADAL" clId="{77B16F2A-14AF-4600-899B-D7FBDFF3091F}" dt="2022-09-30T11:59:14.022" v="362" actId="1036"/>
          <ac:picMkLst>
            <pc:docMk/>
            <pc:sldMk cId="1078392102" sldId="476"/>
            <ac:picMk id="7" creationId="{037C97D1-DFA5-489E-80E0-5896E2B9919E}"/>
          </ac:picMkLst>
        </pc:picChg>
        <pc:picChg chg="del mod">
          <ac:chgData name="Kümmerle, Markus" userId="edb588ad-b118-44cb-93b6-335b967c9009" providerId="ADAL" clId="{77B16F2A-14AF-4600-899B-D7FBDFF3091F}" dt="2022-09-30T11:54:43.160" v="299" actId="478"/>
          <ac:picMkLst>
            <pc:docMk/>
            <pc:sldMk cId="1078392102" sldId="476"/>
            <ac:picMk id="8" creationId="{57028D8E-9C3A-470E-B249-0D059513EEE2}"/>
          </ac:picMkLst>
        </pc:picChg>
        <pc:picChg chg="add mod">
          <ac:chgData name="Kümmerle, Markus" userId="edb588ad-b118-44cb-93b6-335b967c9009" providerId="ADAL" clId="{77B16F2A-14AF-4600-899B-D7FBDFF3091F}" dt="2022-09-15T13:57:57.676" v="4" actId="1076"/>
          <ac:picMkLst>
            <pc:docMk/>
            <pc:sldMk cId="1078392102" sldId="476"/>
            <ac:picMk id="10" creationId="{739EFBD0-2B5F-4855-824C-8BF9F8AA0E46}"/>
          </ac:picMkLst>
        </pc:picChg>
        <pc:picChg chg="add mod">
          <ac:chgData name="Kümmerle, Markus" userId="edb588ad-b118-44cb-93b6-335b967c9009" providerId="ADAL" clId="{77B16F2A-14AF-4600-899B-D7FBDFF3091F}" dt="2022-09-30T11:56:28.923" v="340" actId="408"/>
          <ac:picMkLst>
            <pc:docMk/>
            <pc:sldMk cId="1078392102" sldId="476"/>
            <ac:picMk id="11" creationId="{F143883A-F369-4E88-B4E1-F13C08BBE969}"/>
          </ac:picMkLst>
        </pc:picChg>
        <pc:picChg chg="del">
          <ac:chgData name="Kümmerle, Markus" userId="edb588ad-b118-44cb-93b6-335b967c9009" providerId="ADAL" clId="{77B16F2A-14AF-4600-899B-D7FBDFF3091F}" dt="2022-09-15T13:57:52.236" v="3" actId="478"/>
          <ac:picMkLst>
            <pc:docMk/>
            <pc:sldMk cId="1078392102" sldId="476"/>
            <ac:picMk id="12" creationId="{88409D5E-A1A0-477A-A82A-0AF69C898AE9}"/>
          </ac:picMkLst>
        </pc:picChg>
        <pc:picChg chg="mod">
          <ac:chgData name="Kümmerle, Markus" userId="edb588ad-b118-44cb-93b6-335b967c9009" providerId="ADAL" clId="{77B16F2A-14AF-4600-899B-D7FBDFF3091F}" dt="2022-09-30T11:59:14.022" v="362" actId="1036"/>
          <ac:picMkLst>
            <pc:docMk/>
            <pc:sldMk cId="1078392102" sldId="476"/>
            <ac:picMk id="27" creationId="{030DB03A-0895-4112-8649-533038B3969B}"/>
          </ac:picMkLst>
        </pc:picChg>
        <pc:picChg chg="mod">
          <ac:chgData name="Kümmerle, Markus" userId="edb588ad-b118-44cb-93b6-335b967c9009" providerId="ADAL" clId="{77B16F2A-14AF-4600-899B-D7FBDFF3091F}" dt="2022-09-30T11:59:14.022" v="362" actId="1036"/>
          <ac:picMkLst>
            <pc:docMk/>
            <pc:sldMk cId="1078392102" sldId="476"/>
            <ac:picMk id="28" creationId="{8B276BBC-836F-405C-9B33-8C9BF24C2E9F}"/>
          </ac:picMkLst>
        </pc:picChg>
        <pc:picChg chg="mod">
          <ac:chgData name="Kümmerle, Markus" userId="edb588ad-b118-44cb-93b6-335b967c9009" providerId="ADAL" clId="{77B16F2A-14AF-4600-899B-D7FBDFF3091F}" dt="2022-09-30T11:59:14.022" v="362" actId="1036"/>
          <ac:picMkLst>
            <pc:docMk/>
            <pc:sldMk cId="1078392102" sldId="476"/>
            <ac:picMk id="31" creationId="{D14A0942-DB49-46E4-A71B-792A5725144A}"/>
          </ac:picMkLst>
        </pc:picChg>
        <pc:picChg chg="mod">
          <ac:chgData name="Kümmerle, Markus" userId="edb588ad-b118-44cb-93b6-335b967c9009" providerId="ADAL" clId="{77B16F2A-14AF-4600-899B-D7FBDFF3091F}" dt="2022-09-30T11:56:28.923" v="340" actId="408"/>
          <ac:picMkLst>
            <pc:docMk/>
            <pc:sldMk cId="1078392102" sldId="476"/>
            <ac:picMk id="32" creationId="{16A901F4-0D14-4D96-B942-5CC14F12C906}"/>
          </ac:picMkLst>
        </pc:picChg>
        <pc:picChg chg="mod">
          <ac:chgData name="Kümmerle, Markus" userId="edb588ad-b118-44cb-93b6-335b967c9009" providerId="ADAL" clId="{77B16F2A-14AF-4600-899B-D7FBDFF3091F}" dt="2022-09-30T11:59:14.022" v="362" actId="1036"/>
          <ac:picMkLst>
            <pc:docMk/>
            <pc:sldMk cId="1078392102" sldId="476"/>
            <ac:picMk id="33" creationId="{486EB116-62CB-4834-9944-24A1A0456211}"/>
          </ac:picMkLst>
        </pc:picChg>
        <pc:picChg chg="mod">
          <ac:chgData name="Kümmerle, Markus" userId="edb588ad-b118-44cb-93b6-335b967c9009" providerId="ADAL" clId="{77B16F2A-14AF-4600-899B-D7FBDFF3091F}" dt="2022-09-30T11:56:59.076" v="345" actId="408"/>
          <ac:picMkLst>
            <pc:docMk/>
            <pc:sldMk cId="1078392102" sldId="476"/>
            <ac:picMk id="34" creationId="{DCB7F2B5-189B-4BA7-99C8-9E4F3740C3BA}"/>
          </ac:picMkLst>
        </pc:picChg>
        <pc:picChg chg="mod">
          <ac:chgData name="Kümmerle, Markus" userId="edb588ad-b118-44cb-93b6-335b967c9009" providerId="ADAL" clId="{77B16F2A-14AF-4600-899B-D7FBDFF3091F}" dt="2022-09-30T11:59:14.022" v="362" actId="1036"/>
          <ac:picMkLst>
            <pc:docMk/>
            <pc:sldMk cId="1078392102" sldId="476"/>
            <ac:picMk id="36" creationId="{DBAD3A9A-2A63-437C-B025-FE1C8BE8FFA3}"/>
          </ac:picMkLst>
        </pc:picChg>
        <pc:picChg chg="mod">
          <ac:chgData name="Kümmerle, Markus" userId="edb588ad-b118-44cb-93b6-335b967c9009" providerId="ADAL" clId="{77B16F2A-14AF-4600-899B-D7FBDFF3091F}" dt="2022-09-30T11:56:59.076" v="345" actId="408"/>
          <ac:picMkLst>
            <pc:docMk/>
            <pc:sldMk cId="1078392102" sldId="476"/>
            <ac:picMk id="37" creationId="{A8CBB58E-56D5-4A2C-AAE1-C8B9F0D4E0E4}"/>
          </ac:picMkLst>
        </pc:picChg>
        <pc:picChg chg="mod">
          <ac:chgData name="Kümmerle, Markus" userId="edb588ad-b118-44cb-93b6-335b967c9009" providerId="ADAL" clId="{77B16F2A-14AF-4600-899B-D7FBDFF3091F}" dt="2022-09-30T11:59:14.022" v="362" actId="1036"/>
          <ac:picMkLst>
            <pc:docMk/>
            <pc:sldMk cId="1078392102" sldId="476"/>
            <ac:picMk id="38" creationId="{06527CBD-70B8-40FB-8885-0CB8742CD665}"/>
          </ac:picMkLst>
        </pc:picChg>
        <pc:picChg chg="mod">
          <ac:chgData name="Kümmerle, Markus" userId="edb588ad-b118-44cb-93b6-335b967c9009" providerId="ADAL" clId="{77B16F2A-14AF-4600-899B-D7FBDFF3091F}" dt="2022-09-30T11:59:14.022" v="362" actId="1036"/>
          <ac:picMkLst>
            <pc:docMk/>
            <pc:sldMk cId="1078392102" sldId="476"/>
            <ac:picMk id="39" creationId="{086B781B-9E16-4A8C-A2EA-DE2643B8D61D}"/>
          </ac:picMkLst>
        </pc:picChg>
        <pc:picChg chg="mod">
          <ac:chgData name="Kümmerle, Markus" userId="edb588ad-b118-44cb-93b6-335b967c9009" providerId="ADAL" clId="{77B16F2A-14AF-4600-899B-D7FBDFF3091F}" dt="2022-09-30T11:59:14.022" v="362" actId="1036"/>
          <ac:picMkLst>
            <pc:docMk/>
            <pc:sldMk cId="1078392102" sldId="476"/>
            <ac:picMk id="40" creationId="{4B8C509A-D63A-450A-A9CE-A73D6E118BC6}"/>
          </ac:picMkLst>
        </pc:picChg>
        <pc:picChg chg="mod">
          <ac:chgData name="Kümmerle, Markus" userId="edb588ad-b118-44cb-93b6-335b967c9009" providerId="ADAL" clId="{77B16F2A-14AF-4600-899B-D7FBDFF3091F}" dt="2022-09-30T11:59:14.022" v="362" actId="1036"/>
          <ac:picMkLst>
            <pc:docMk/>
            <pc:sldMk cId="1078392102" sldId="476"/>
            <ac:picMk id="41" creationId="{695FF3A2-599C-4625-A27E-2B781C9B0479}"/>
          </ac:picMkLst>
        </pc:picChg>
        <pc:picChg chg="mod">
          <ac:chgData name="Kümmerle, Markus" userId="edb588ad-b118-44cb-93b6-335b967c9009" providerId="ADAL" clId="{77B16F2A-14AF-4600-899B-D7FBDFF3091F}" dt="2022-09-30T11:59:14.022" v="362" actId="1036"/>
          <ac:picMkLst>
            <pc:docMk/>
            <pc:sldMk cId="1078392102" sldId="476"/>
            <ac:picMk id="42" creationId="{0253D1F5-D366-4ED2-A1B8-394C1D96A8F2}"/>
          </ac:picMkLst>
        </pc:picChg>
        <pc:picChg chg="mod">
          <ac:chgData name="Kümmerle, Markus" userId="edb588ad-b118-44cb-93b6-335b967c9009" providerId="ADAL" clId="{77B16F2A-14AF-4600-899B-D7FBDFF3091F}" dt="2022-09-30T11:59:14.022" v="362" actId="1036"/>
          <ac:picMkLst>
            <pc:docMk/>
            <pc:sldMk cId="1078392102" sldId="476"/>
            <ac:picMk id="44" creationId="{329AD4BF-4028-44EA-8861-1DC1066F5473}"/>
          </ac:picMkLst>
        </pc:picChg>
        <pc:picChg chg="mod">
          <ac:chgData name="Kümmerle, Markus" userId="edb588ad-b118-44cb-93b6-335b967c9009" providerId="ADAL" clId="{77B16F2A-14AF-4600-899B-D7FBDFF3091F}" dt="2022-09-30T11:59:14.022" v="362" actId="1036"/>
          <ac:picMkLst>
            <pc:docMk/>
            <pc:sldMk cId="1078392102" sldId="476"/>
            <ac:picMk id="45" creationId="{BA4AB2BA-B416-4BBC-8423-24F69231661B}"/>
          </ac:picMkLst>
        </pc:picChg>
        <pc:picChg chg="mod">
          <ac:chgData name="Kümmerle, Markus" userId="edb588ad-b118-44cb-93b6-335b967c9009" providerId="ADAL" clId="{77B16F2A-14AF-4600-899B-D7FBDFF3091F}" dt="2022-09-30T11:59:14.022" v="362" actId="1036"/>
          <ac:picMkLst>
            <pc:docMk/>
            <pc:sldMk cId="1078392102" sldId="476"/>
            <ac:picMk id="46" creationId="{1AC00ECE-283D-48BB-A90C-2FAE1DE74A97}"/>
          </ac:picMkLst>
        </pc:picChg>
        <pc:picChg chg="mod">
          <ac:chgData name="Kümmerle, Markus" userId="edb588ad-b118-44cb-93b6-335b967c9009" providerId="ADAL" clId="{77B16F2A-14AF-4600-899B-D7FBDFF3091F}" dt="2022-09-30T11:59:14.022" v="362" actId="1036"/>
          <ac:picMkLst>
            <pc:docMk/>
            <pc:sldMk cId="1078392102" sldId="476"/>
            <ac:picMk id="47" creationId="{9BA122E6-520A-4EEB-BB7E-A1FD8CA99C78}"/>
          </ac:picMkLst>
        </pc:picChg>
        <pc:picChg chg="mod">
          <ac:chgData name="Kümmerle, Markus" userId="edb588ad-b118-44cb-93b6-335b967c9009" providerId="ADAL" clId="{77B16F2A-14AF-4600-899B-D7FBDFF3091F}" dt="2022-09-30T11:59:14.022" v="362" actId="1036"/>
          <ac:picMkLst>
            <pc:docMk/>
            <pc:sldMk cId="1078392102" sldId="476"/>
            <ac:picMk id="48" creationId="{B19288B2-C708-4040-AF75-49394FC86A02}"/>
          </ac:picMkLst>
        </pc:picChg>
        <pc:picChg chg="mod">
          <ac:chgData name="Kümmerle, Markus" userId="edb588ad-b118-44cb-93b6-335b967c9009" providerId="ADAL" clId="{77B16F2A-14AF-4600-899B-D7FBDFF3091F}" dt="2022-09-30T11:59:14.022" v="362" actId="1036"/>
          <ac:picMkLst>
            <pc:docMk/>
            <pc:sldMk cId="1078392102" sldId="476"/>
            <ac:picMk id="49" creationId="{9F36EC92-AEDF-4D23-A905-00C7B7C6B194}"/>
          </ac:picMkLst>
        </pc:picChg>
        <pc:picChg chg="mod">
          <ac:chgData name="Kümmerle, Markus" userId="edb588ad-b118-44cb-93b6-335b967c9009" providerId="ADAL" clId="{77B16F2A-14AF-4600-899B-D7FBDFF3091F}" dt="2022-09-30T11:56:28.923" v="340" actId="408"/>
          <ac:picMkLst>
            <pc:docMk/>
            <pc:sldMk cId="1078392102" sldId="476"/>
            <ac:picMk id="50" creationId="{0491DD10-E47D-4697-B76B-43536CA5B387}"/>
          </ac:picMkLst>
        </pc:picChg>
        <pc:picChg chg="mod">
          <ac:chgData name="Kümmerle, Markus" userId="edb588ad-b118-44cb-93b6-335b967c9009" providerId="ADAL" clId="{77B16F2A-14AF-4600-899B-D7FBDFF3091F}" dt="2022-09-30T11:56:28.923" v="340" actId="408"/>
          <ac:picMkLst>
            <pc:docMk/>
            <pc:sldMk cId="1078392102" sldId="476"/>
            <ac:picMk id="51" creationId="{993657B1-74CC-4A1E-A041-F319E5065F51}"/>
          </ac:picMkLst>
        </pc:picChg>
        <pc:picChg chg="mod">
          <ac:chgData name="Kümmerle, Markus" userId="edb588ad-b118-44cb-93b6-335b967c9009" providerId="ADAL" clId="{77B16F2A-14AF-4600-899B-D7FBDFF3091F}" dt="2022-09-30T11:59:14.022" v="362" actId="1036"/>
          <ac:picMkLst>
            <pc:docMk/>
            <pc:sldMk cId="1078392102" sldId="476"/>
            <ac:picMk id="52" creationId="{8BF0111A-744C-4F25-8259-575938B47F05}"/>
          </ac:picMkLst>
        </pc:picChg>
        <pc:picChg chg="mod">
          <ac:chgData name="Kümmerle, Markus" userId="edb588ad-b118-44cb-93b6-335b967c9009" providerId="ADAL" clId="{77B16F2A-14AF-4600-899B-D7FBDFF3091F}" dt="2022-09-30T11:56:54.729" v="344" actId="12789"/>
          <ac:picMkLst>
            <pc:docMk/>
            <pc:sldMk cId="1078392102" sldId="476"/>
            <ac:picMk id="53" creationId="{F773404F-7085-42E8-84B3-80625B7A31CF}"/>
          </ac:picMkLst>
        </pc:picChg>
        <pc:picChg chg="mod">
          <ac:chgData name="Kümmerle, Markus" userId="edb588ad-b118-44cb-93b6-335b967c9009" providerId="ADAL" clId="{77B16F2A-14AF-4600-899B-D7FBDFF3091F}" dt="2022-09-30T11:55:12.104" v="302" actId="12789"/>
          <ac:picMkLst>
            <pc:docMk/>
            <pc:sldMk cId="1078392102" sldId="476"/>
            <ac:picMk id="54" creationId="{6677E182-5023-4DEC-82E1-C59BC0EF4E3E}"/>
          </ac:picMkLst>
        </pc:picChg>
        <pc:picChg chg="mod">
          <ac:chgData name="Kümmerle, Markus" userId="edb588ad-b118-44cb-93b6-335b967c9009" providerId="ADAL" clId="{77B16F2A-14AF-4600-899B-D7FBDFF3091F}" dt="2022-09-30T11:59:14.022" v="362" actId="1036"/>
          <ac:picMkLst>
            <pc:docMk/>
            <pc:sldMk cId="1078392102" sldId="476"/>
            <ac:picMk id="55" creationId="{37F213E2-E7FA-47E1-AB99-62DD5CAD107C}"/>
          </ac:picMkLst>
        </pc:picChg>
        <pc:picChg chg="mod">
          <ac:chgData name="Kümmerle, Markus" userId="edb588ad-b118-44cb-93b6-335b967c9009" providerId="ADAL" clId="{77B16F2A-14AF-4600-899B-D7FBDFF3091F}" dt="2022-09-30T11:59:14.022" v="362" actId="1036"/>
          <ac:picMkLst>
            <pc:docMk/>
            <pc:sldMk cId="1078392102" sldId="476"/>
            <ac:picMk id="56" creationId="{33143BD9-69CF-46DF-9959-357A92990F1C}"/>
          </ac:picMkLst>
        </pc:picChg>
        <pc:picChg chg="mod">
          <ac:chgData name="Kümmerle, Markus" userId="edb588ad-b118-44cb-93b6-335b967c9009" providerId="ADAL" clId="{77B16F2A-14AF-4600-899B-D7FBDFF3091F}" dt="2022-09-30T11:56:59.076" v="345" actId="408"/>
          <ac:picMkLst>
            <pc:docMk/>
            <pc:sldMk cId="1078392102" sldId="476"/>
            <ac:picMk id="57" creationId="{16D1BF50-6315-4765-BBAF-E887F958B33D}"/>
          </ac:picMkLst>
        </pc:picChg>
        <pc:picChg chg="mod">
          <ac:chgData name="Kümmerle, Markus" userId="edb588ad-b118-44cb-93b6-335b967c9009" providerId="ADAL" clId="{77B16F2A-14AF-4600-899B-D7FBDFF3091F}" dt="2022-09-30T11:59:14.022" v="362" actId="1036"/>
          <ac:picMkLst>
            <pc:docMk/>
            <pc:sldMk cId="1078392102" sldId="476"/>
            <ac:picMk id="58" creationId="{4659AFE2-680A-4CB2-827A-FFD2AD439B23}"/>
          </ac:picMkLst>
        </pc:picChg>
        <pc:picChg chg="mod">
          <ac:chgData name="Kümmerle, Markus" userId="edb588ad-b118-44cb-93b6-335b967c9009" providerId="ADAL" clId="{77B16F2A-14AF-4600-899B-D7FBDFF3091F}" dt="2022-09-30T11:59:14.022" v="362" actId="1036"/>
          <ac:picMkLst>
            <pc:docMk/>
            <pc:sldMk cId="1078392102" sldId="476"/>
            <ac:picMk id="59" creationId="{089C82E4-78AD-4275-B1B1-AA0A5CA49DAD}"/>
          </ac:picMkLst>
        </pc:picChg>
        <pc:picChg chg="mod">
          <ac:chgData name="Kümmerle, Markus" userId="edb588ad-b118-44cb-93b6-335b967c9009" providerId="ADAL" clId="{77B16F2A-14AF-4600-899B-D7FBDFF3091F}" dt="2022-09-30T11:59:14.022" v="362" actId="1036"/>
          <ac:picMkLst>
            <pc:docMk/>
            <pc:sldMk cId="1078392102" sldId="476"/>
            <ac:picMk id="60" creationId="{E9B8CEF0-F6AF-49F4-B63D-6B7A61B9B85F}"/>
          </ac:picMkLst>
        </pc:picChg>
        <pc:picChg chg="add mod">
          <ac:chgData name="Kümmerle, Markus" userId="edb588ad-b118-44cb-93b6-335b967c9009" providerId="ADAL" clId="{77B16F2A-14AF-4600-899B-D7FBDFF3091F}" dt="2022-09-30T11:56:54.729" v="344" actId="12789"/>
          <ac:picMkLst>
            <pc:docMk/>
            <pc:sldMk cId="1078392102" sldId="476"/>
            <ac:picMk id="61" creationId="{D5D197E2-5366-4600-85F1-DEF46E8FA27E}"/>
          </ac:picMkLst>
        </pc:picChg>
        <pc:picChg chg="add mod">
          <ac:chgData name="Kümmerle, Markus" userId="edb588ad-b118-44cb-93b6-335b967c9009" providerId="ADAL" clId="{77B16F2A-14AF-4600-899B-D7FBDFF3091F}" dt="2022-09-30T11:59:14.022" v="362" actId="1036"/>
          <ac:picMkLst>
            <pc:docMk/>
            <pc:sldMk cId="1078392102" sldId="476"/>
            <ac:picMk id="62" creationId="{9C68D396-ECCA-4573-B02D-68AE77087CA3}"/>
          </ac:picMkLst>
        </pc:picChg>
        <pc:picChg chg="add mod">
          <ac:chgData name="Kümmerle, Markus" userId="edb588ad-b118-44cb-93b6-335b967c9009" providerId="ADAL" clId="{77B16F2A-14AF-4600-899B-D7FBDFF3091F}" dt="2022-09-30T11:56:59.076" v="345" actId="408"/>
          <ac:picMkLst>
            <pc:docMk/>
            <pc:sldMk cId="1078392102" sldId="476"/>
            <ac:picMk id="63" creationId="{1F912CD0-0288-4149-B18C-ABA0F8876525}"/>
          </ac:picMkLst>
        </pc:picChg>
        <pc:picChg chg="add mod">
          <ac:chgData name="Kümmerle, Markus" userId="edb588ad-b118-44cb-93b6-335b967c9009" providerId="ADAL" clId="{77B16F2A-14AF-4600-899B-D7FBDFF3091F}" dt="2022-09-30T11:56:13.033" v="339" actId="1037"/>
          <ac:picMkLst>
            <pc:docMk/>
            <pc:sldMk cId="1078392102" sldId="476"/>
            <ac:picMk id="64" creationId="{9AA09A11-EC07-4DE6-BDF3-C808D3CF062A}"/>
          </ac:picMkLst>
        </pc:picChg>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30.09.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6.png"/><Relationship Id="rId3" Type="http://schemas.openxmlformats.org/officeDocument/2006/relationships/notesSlide" Target="../notesSlides/notesSlide1.xml"/><Relationship Id="rId21" Type="http://schemas.openxmlformats.org/officeDocument/2006/relationships/image" Target="../media/image18.png"/><Relationship Id="rId34" Type="http://schemas.openxmlformats.org/officeDocument/2006/relationships/image" Target="../media/image31.png"/><Relationship Id="rId42" Type="http://schemas.openxmlformats.org/officeDocument/2006/relationships/image" Target="../media/image39.svg"/><Relationship Id="rId7" Type="http://schemas.openxmlformats.org/officeDocument/2006/relationships/image" Target="../media/image4.png"/><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38" Type="http://schemas.openxmlformats.org/officeDocument/2006/relationships/image" Target="../media/image35.png"/><Relationship Id="rId46" Type="http://schemas.openxmlformats.org/officeDocument/2006/relationships/image" Target="../media/image43.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41" Type="http://schemas.openxmlformats.org/officeDocument/2006/relationships/image" Target="../media/image38.png"/><Relationship Id="rId1" Type="http://schemas.openxmlformats.org/officeDocument/2006/relationships/tags" Target="../tags/tag6.xml"/><Relationship Id="rId6" Type="http://schemas.openxmlformats.org/officeDocument/2006/relationships/image" Target="../media/image2.emf"/><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7.png"/><Relationship Id="rId45" Type="http://schemas.openxmlformats.org/officeDocument/2006/relationships/image" Target="../media/image42.png"/><Relationship Id="rId5" Type="http://schemas.openxmlformats.org/officeDocument/2006/relationships/oleObject" Target="../embeddings/oleObject4.bin"/><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36" Type="http://schemas.openxmlformats.org/officeDocument/2006/relationships/image" Target="../media/image33.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4" Type="http://schemas.openxmlformats.org/officeDocument/2006/relationships/image" Target="../media/image41.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 Id="rId43"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7"/>
          <a:stretch>
            <a:fillRect/>
          </a:stretch>
        </p:blipFill>
        <p:spPr>
          <a:xfrm>
            <a:off x="450679" y="9224656"/>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8"/>
          <a:stretch>
            <a:fillRect/>
          </a:stretch>
        </p:blipFill>
        <p:spPr>
          <a:xfrm>
            <a:off x="4640235" y="7507820"/>
            <a:ext cx="649114" cy="649114"/>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9"/>
          <a:stretch>
            <a:fillRect/>
          </a:stretch>
        </p:blipFill>
        <p:spPr>
          <a:xfrm>
            <a:off x="2809931" y="8983533"/>
            <a:ext cx="443259" cy="443259"/>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0"/>
          <a:stretch>
            <a:fillRect/>
          </a:stretch>
        </p:blipFill>
        <p:spPr>
          <a:xfrm>
            <a:off x="5163431" y="9431037"/>
            <a:ext cx="674164" cy="379217"/>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1"/>
          <a:stretch>
            <a:fillRect/>
          </a:stretch>
        </p:blipFill>
        <p:spPr>
          <a:xfrm>
            <a:off x="4035181" y="8979075"/>
            <a:ext cx="655785" cy="452174"/>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97627" cy="215444"/>
          </a:xfrm>
          <a:prstGeom prst="rect">
            <a:avLst/>
          </a:prstGeom>
          <a:noFill/>
        </p:spPr>
        <p:txBody>
          <a:bodyPr wrap="none" rtlCol="0">
            <a:spAutoFit/>
          </a:bodyPr>
          <a:lstStyle/>
          <a:p>
            <a:r>
              <a:rPr lang="de-DE" sz="800" dirty="0">
                <a:latin typeface="FlexoSoft Light" panose="02000000000000000000" pitchFamily="2" charset="0"/>
              </a:rPr>
              <a:t>30.09.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2"/>
          <a:stretch>
            <a:fillRect/>
          </a:stretch>
        </p:blipFill>
        <p:spPr>
          <a:xfrm>
            <a:off x="3953734" y="8543590"/>
            <a:ext cx="971688" cy="546574"/>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3"/>
          <a:stretch>
            <a:fillRect/>
          </a:stretch>
        </p:blipFill>
        <p:spPr>
          <a:xfrm>
            <a:off x="2107424" y="8588031"/>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4"/>
          <a:stretch>
            <a:fillRect/>
          </a:stretch>
        </p:blipFill>
        <p:spPr>
          <a:xfrm>
            <a:off x="5766391" y="9105774"/>
            <a:ext cx="813177" cy="198777"/>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5"/>
          <a:stretch>
            <a:fillRect/>
          </a:stretch>
        </p:blipFill>
        <p:spPr>
          <a:xfrm>
            <a:off x="5357514" y="8028849"/>
            <a:ext cx="293100" cy="317345"/>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6"/>
          <a:stretch>
            <a:fillRect/>
          </a:stretch>
        </p:blipFill>
        <p:spPr>
          <a:xfrm>
            <a:off x="3448098" y="9009075"/>
            <a:ext cx="392175" cy="392175"/>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7"/>
          <a:stretch>
            <a:fillRect/>
          </a:stretch>
        </p:blipFill>
        <p:spPr>
          <a:xfrm>
            <a:off x="2628302" y="9374291"/>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18"/>
          <a:stretch>
            <a:fillRect/>
          </a:stretch>
        </p:blipFill>
        <p:spPr>
          <a:xfrm>
            <a:off x="4951512" y="8144558"/>
            <a:ext cx="1039405" cy="691886"/>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19"/>
          <a:stretch>
            <a:fillRect/>
          </a:stretch>
        </p:blipFill>
        <p:spPr>
          <a:xfrm>
            <a:off x="1094943" y="8500081"/>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0"/>
          <a:stretch>
            <a:fillRect/>
          </a:stretch>
        </p:blipFill>
        <p:spPr>
          <a:xfrm>
            <a:off x="1003702" y="9046966"/>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1"/>
          <a:stretch>
            <a:fillRect/>
          </a:stretch>
        </p:blipFill>
        <p:spPr>
          <a:xfrm>
            <a:off x="2824857" y="7906495"/>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2"/>
          <a:stretch>
            <a:fillRect/>
          </a:stretch>
        </p:blipFill>
        <p:spPr>
          <a:xfrm>
            <a:off x="4257686" y="9472199"/>
            <a:ext cx="882745" cy="296892"/>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3"/>
          <a:stretch>
            <a:fillRect/>
          </a:stretch>
        </p:blipFill>
        <p:spPr>
          <a:xfrm>
            <a:off x="1422717" y="8376859"/>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373710" y="9062821"/>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5"/>
          <a:stretch>
            <a:fillRect/>
          </a:stretch>
        </p:blipFill>
        <p:spPr>
          <a:xfrm>
            <a:off x="450192" y="8698695"/>
            <a:ext cx="582659" cy="236365"/>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6"/>
          <a:stretch>
            <a:fillRect/>
          </a:stretch>
        </p:blipFill>
        <p:spPr>
          <a:xfrm>
            <a:off x="2732816" y="8398471"/>
            <a:ext cx="1039405" cy="18406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7"/>
          <a:stretch>
            <a:fillRect/>
          </a:stretch>
        </p:blipFill>
        <p:spPr>
          <a:xfrm>
            <a:off x="1606205" y="9087737"/>
            <a:ext cx="1008818" cy="234850"/>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28"/>
          <a:stretch>
            <a:fillRect/>
          </a:stretch>
        </p:blipFill>
        <p:spPr>
          <a:xfrm>
            <a:off x="3006758" y="8663263"/>
            <a:ext cx="884884" cy="307228"/>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29"/>
          <a:stretch>
            <a:fillRect/>
          </a:stretch>
        </p:blipFill>
        <p:spPr>
          <a:xfrm>
            <a:off x="1960668" y="7689326"/>
            <a:ext cx="1085207" cy="286102"/>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0"/>
          <a:stretch>
            <a:fillRect/>
          </a:stretch>
        </p:blipFill>
        <p:spPr>
          <a:xfrm>
            <a:off x="3213166" y="7695027"/>
            <a:ext cx="1259778" cy="274701"/>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1"/>
          <a:stretch>
            <a:fillRect/>
          </a:stretch>
        </p:blipFill>
        <p:spPr>
          <a:xfrm>
            <a:off x="4987514" y="8409582"/>
            <a:ext cx="814590" cy="814590"/>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2"/>
          <a:stretch>
            <a:fillRect/>
          </a:stretch>
        </p:blipFill>
        <p:spPr>
          <a:xfrm>
            <a:off x="338379" y="7964566"/>
            <a:ext cx="1103914" cy="445910"/>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3"/>
          <a:stretch>
            <a:fillRect/>
          </a:stretch>
        </p:blipFill>
        <p:spPr>
          <a:xfrm>
            <a:off x="418258" y="7726483"/>
            <a:ext cx="700990" cy="211788"/>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34"/>
          <a:stretch>
            <a:fillRect/>
          </a:stretch>
        </p:blipFill>
        <p:spPr>
          <a:xfrm>
            <a:off x="4445841" y="8128475"/>
            <a:ext cx="676821" cy="118093"/>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35"/>
          <a:stretch>
            <a:fillRect/>
          </a:stretch>
        </p:blipFill>
        <p:spPr>
          <a:xfrm>
            <a:off x="5864195" y="8685634"/>
            <a:ext cx="715373" cy="262486"/>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36"/>
          <a:stretch>
            <a:fillRect/>
          </a:stretch>
        </p:blipFill>
        <p:spPr>
          <a:xfrm>
            <a:off x="4885874" y="9056716"/>
            <a:ext cx="685606" cy="296892"/>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7"/>
          <a:stretch>
            <a:fillRect/>
          </a:stretch>
        </p:blipFill>
        <p:spPr>
          <a:xfrm>
            <a:off x="5903456" y="9435394"/>
            <a:ext cx="728229" cy="370503"/>
          </a:xfrm>
          <a:prstGeom prst="rect">
            <a:avLst/>
          </a:prstGeom>
        </p:spPr>
      </p:pic>
      <p:pic>
        <p:nvPicPr>
          <p:cNvPr id="55" name="Grafik 54">
            <a:extLst>
              <a:ext uri="{FF2B5EF4-FFF2-40B4-BE49-F238E27FC236}">
                <a16:creationId xmlns:a16="http://schemas.microsoft.com/office/drawing/2014/main" id="{37F213E2-E7FA-47E1-AB99-62DD5CAD107C}"/>
              </a:ext>
            </a:extLst>
          </p:cNvPr>
          <p:cNvPicPr>
            <a:picLocks noChangeAspect="1"/>
          </p:cNvPicPr>
          <p:nvPr/>
        </p:nvPicPr>
        <p:blipFill>
          <a:blip r:embed="rId38"/>
          <a:stretch>
            <a:fillRect/>
          </a:stretch>
        </p:blipFill>
        <p:spPr>
          <a:xfrm>
            <a:off x="355243" y="8293856"/>
            <a:ext cx="878843" cy="393291"/>
          </a:xfrm>
          <a:prstGeom prst="rect">
            <a:avLst/>
          </a:prstGeom>
        </p:spPr>
      </p:pic>
      <p:pic>
        <p:nvPicPr>
          <p:cNvPr id="56" name="Grafik 55" descr="Ein Bild, das Text, ClipArt enthält.&#10;&#10;Automatisch generierte Beschreibung">
            <a:extLst>
              <a:ext uri="{FF2B5EF4-FFF2-40B4-BE49-F238E27FC236}">
                <a16:creationId xmlns:a16="http://schemas.microsoft.com/office/drawing/2014/main" id="{33143BD9-69CF-46DF-9959-357A92990F1C}"/>
              </a:ext>
            </a:extLst>
          </p:cNvPr>
          <p:cNvPicPr>
            <a:picLocks noChangeAspect="1"/>
          </p:cNvPicPr>
          <p:nvPr/>
        </p:nvPicPr>
        <p:blipFill>
          <a:blip r:embed="rId39"/>
          <a:stretch>
            <a:fillRect/>
          </a:stretch>
        </p:blipFill>
        <p:spPr>
          <a:xfrm>
            <a:off x="3960852" y="8427831"/>
            <a:ext cx="802029" cy="125341"/>
          </a:xfrm>
          <a:prstGeom prst="rect">
            <a:avLst/>
          </a:prstGeom>
        </p:spPr>
      </p:pic>
      <p:pic>
        <p:nvPicPr>
          <p:cNvPr id="10" name="Grafik 9">
            <a:extLst>
              <a:ext uri="{FF2B5EF4-FFF2-40B4-BE49-F238E27FC236}">
                <a16:creationId xmlns:a16="http://schemas.microsoft.com/office/drawing/2014/main" id="{739EFBD0-2B5F-4855-824C-8BF9F8AA0E46}"/>
              </a:ext>
            </a:extLst>
          </p:cNvPr>
          <p:cNvPicPr>
            <a:picLocks noChangeAspect="1"/>
          </p:cNvPicPr>
          <p:nvPr/>
        </p:nvPicPr>
        <p:blipFill>
          <a:blip r:embed="rId40"/>
          <a:stretch>
            <a:fillRect/>
          </a:stretch>
        </p:blipFill>
        <p:spPr>
          <a:xfrm>
            <a:off x="3947721" y="236148"/>
            <a:ext cx="2319849" cy="446621"/>
          </a:xfrm>
          <a:prstGeom prst="rect">
            <a:avLst/>
          </a:prstGeom>
        </p:spPr>
      </p:pic>
      <p:pic>
        <p:nvPicPr>
          <p:cNvPr id="61" name="Grafik 60">
            <a:extLst>
              <a:ext uri="{FF2B5EF4-FFF2-40B4-BE49-F238E27FC236}">
                <a16:creationId xmlns:a16="http://schemas.microsoft.com/office/drawing/2014/main" id="{D5D197E2-5366-4600-85F1-DEF46E8FA27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885467" y="8145753"/>
            <a:ext cx="668299" cy="83537"/>
          </a:xfrm>
          <a:prstGeom prst="rect">
            <a:avLst/>
          </a:prstGeom>
        </p:spPr>
      </p:pic>
      <p:pic>
        <p:nvPicPr>
          <p:cNvPr id="62" name="Grafik 61">
            <a:extLst>
              <a:ext uri="{FF2B5EF4-FFF2-40B4-BE49-F238E27FC236}">
                <a16:creationId xmlns:a16="http://schemas.microsoft.com/office/drawing/2014/main" id="{9C68D396-ECCA-4573-B02D-68AE77087CA3}"/>
              </a:ext>
            </a:extLst>
          </p:cNvPr>
          <p:cNvPicPr>
            <a:picLocks noChangeAspect="1"/>
          </p:cNvPicPr>
          <p:nvPr/>
        </p:nvPicPr>
        <p:blipFill>
          <a:blip r:embed="rId43"/>
          <a:stretch>
            <a:fillRect/>
          </a:stretch>
        </p:blipFill>
        <p:spPr>
          <a:xfrm>
            <a:off x="6179547" y="8295939"/>
            <a:ext cx="414255" cy="372912"/>
          </a:xfrm>
          <a:prstGeom prst="rect">
            <a:avLst/>
          </a:prstGeom>
        </p:spPr>
      </p:pic>
      <p:pic>
        <p:nvPicPr>
          <p:cNvPr id="63" name="Grafik 62">
            <a:extLst>
              <a:ext uri="{FF2B5EF4-FFF2-40B4-BE49-F238E27FC236}">
                <a16:creationId xmlns:a16="http://schemas.microsoft.com/office/drawing/2014/main" id="{1F912CD0-0288-4149-B18C-ABA0F8876525}"/>
              </a:ext>
            </a:extLst>
          </p:cNvPr>
          <p:cNvPicPr>
            <a:picLocks noChangeAspect="1"/>
          </p:cNvPicPr>
          <p:nvPr/>
        </p:nvPicPr>
        <p:blipFill>
          <a:blip r:embed="rId44"/>
          <a:stretch>
            <a:fillRect/>
          </a:stretch>
        </p:blipFill>
        <p:spPr>
          <a:xfrm>
            <a:off x="1677145" y="8118626"/>
            <a:ext cx="912860" cy="137790"/>
          </a:xfrm>
          <a:prstGeom prst="rect">
            <a:avLst/>
          </a:prstGeom>
        </p:spPr>
      </p:pic>
      <p:pic>
        <p:nvPicPr>
          <p:cNvPr id="64" name="Grafik 63">
            <a:extLst>
              <a:ext uri="{FF2B5EF4-FFF2-40B4-BE49-F238E27FC236}">
                <a16:creationId xmlns:a16="http://schemas.microsoft.com/office/drawing/2014/main" id="{9AA09A11-EC07-4DE6-BDF3-C808D3CF062A}"/>
              </a:ext>
            </a:extLst>
          </p:cNvPr>
          <p:cNvPicPr>
            <a:picLocks noChangeAspect="1"/>
          </p:cNvPicPr>
          <p:nvPr/>
        </p:nvPicPr>
        <p:blipFill>
          <a:blip r:embed="rId45"/>
          <a:stretch>
            <a:fillRect/>
          </a:stretch>
        </p:blipFill>
        <p:spPr>
          <a:xfrm>
            <a:off x="5456641" y="7646947"/>
            <a:ext cx="1250353" cy="370860"/>
          </a:xfrm>
          <a:prstGeom prst="rect">
            <a:avLst/>
          </a:prstGeom>
        </p:spPr>
      </p:pic>
      <p:pic>
        <p:nvPicPr>
          <p:cNvPr id="11" name="Grafik 10">
            <a:extLst>
              <a:ext uri="{FF2B5EF4-FFF2-40B4-BE49-F238E27FC236}">
                <a16:creationId xmlns:a16="http://schemas.microsoft.com/office/drawing/2014/main" id="{F143883A-F369-4E88-B4E1-F13C08BBE969}"/>
              </a:ext>
            </a:extLst>
          </p:cNvPr>
          <p:cNvPicPr>
            <a:picLocks noChangeAspect="1"/>
          </p:cNvPicPr>
          <p:nvPr/>
        </p:nvPicPr>
        <p:blipFill>
          <a:blip r:embed="rId46"/>
          <a:stretch>
            <a:fillRect/>
          </a:stretch>
        </p:blipFill>
        <p:spPr>
          <a:xfrm>
            <a:off x="1286539" y="7578958"/>
            <a:ext cx="506838" cy="506838"/>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Wingdings</vt:lpstr>
      <vt:lpstr>Wingdings 2</vt:lpstr>
      <vt:lpstr>Arial</vt:lpstr>
      <vt:lpstr>FlexoSoft DemiBold</vt:lpstr>
      <vt:lpstr>Calibri</vt:lpstr>
      <vt:lpstr>FlexoSoft Light</vt:lpstr>
      <vt:lpstr>FlexoSoft Medium</vt:lpstr>
      <vt:lpstr>FlexoSoft</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9-30T11:5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